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  <p:sldMasterId id="2147483654" r:id="rId2"/>
    <p:sldMasterId id="2147483656" r:id="rId3"/>
  </p:sldMasterIdLst>
  <p:notesMasterIdLst>
    <p:notesMasterId r:id="rId19"/>
  </p:notesMasterIdLst>
  <p:sldIdLst>
    <p:sldId id="256" r:id="rId4"/>
    <p:sldId id="257" r:id="rId5"/>
    <p:sldId id="270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ndara" panose="020E0502030303020204" pitchFamily="34" charset="0"/>
      <p:regular r:id="rId24"/>
      <p:bold r:id="rId25"/>
      <p:italic r:id="rId26"/>
      <p:boldItalic r:id="rId27"/>
    </p:embeddedFont>
    <p:embeddedFont>
      <p:font typeface="Corbel" panose="020B0503020204020204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000000"/>
          </p15:clr>
        </p15:guide>
        <p15:guide id="2" pos="3840">
          <p15:clr>
            <a:srgbClr val="000000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000000"/>
          </p15:clr>
        </p15:guide>
        <p15:guide id="2" pos="2160">
          <p15:clr>
            <a:srgbClr val="000000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3" roundtripDataSignature="AMtx7mjFQQOchi5DmgPTD6JfolF75PKFv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DE8B54-5AC0-4A5B-A489-DA6DF2CFE128}" v="67" dt="2021-09-04T12:34:10.3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7.fntdata"/><Relationship Id="rId39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2.fntdata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6.fntdata"/><Relationship Id="rId33" Type="http://customschemas.google.com/relationships/presentationmetadata" Target="metadata"/><Relationship Id="rId38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5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ECDE8B54-5AC0-4A5B-A489-DA6DF2CFE128}"/>
    <pc:docChg chg="custSel addSld modSld modMainMaster">
      <pc:chgData name="Aniket Chhabra" userId="598e0514-bef3-4e71-b6aa-f2edd6441cff" providerId="ADAL" clId="{ECDE8B54-5AC0-4A5B-A489-DA6DF2CFE128}" dt="2021-09-04T12:34:00.413" v="191"/>
      <pc:docMkLst>
        <pc:docMk/>
      </pc:docMkLst>
      <pc:sldChg chg="addSp delSp modSp new add mod">
        <pc:chgData name="Aniket Chhabra" userId="598e0514-bef3-4e71-b6aa-f2edd6441cff" providerId="ADAL" clId="{ECDE8B54-5AC0-4A5B-A489-DA6DF2CFE128}" dt="2021-09-04T12:34:00.413" v="191"/>
        <pc:sldMkLst>
          <pc:docMk/>
          <pc:sldMk cId="1644857559" sldId="270"/>
        </pc:sldMkLst>
        <pc:spChg chg="del">
          <ac:chgData name="Aniket Chhabra" userId="598e0514-bef3-4e71-b6aa-f2edd6441cff" providerId="ADAL" clId="{ECDE8B54-5AC0-4A5B-A489-DA6DF2CFE128}" dt="2021-09-04T12:33:52.862" v="4" actId="478"/>
          <ac:spMkLst>
            <pc:docMk/>
            <pc:sldMk cId="1644857559" sldId="270"/>
            <ac:spMk id="2" creationId="{6C63D660-7507-48F6-A43B-A730B0D90D35}"/>
          </ac:spMkLst>
        </pc:spChg>
        <pc:spChg chg="del">
          <ac:chgData name="Aniket Chhabra" userId="598e0514-bef3-4e71-b6aa-f2edd6441cff" providerId="ADAL" clId="{ECDE8B54-5AC0-4A5B-A489-DA6DF2CFE128}" dt="2021-09-04T12:33:52.862" v="4" actId="478"/>
          <ac:spMkLst>
            <pc:docMk/>
            <pc:sldMk cId="1644857559" sldId="270"/>
            <ac:spMk id="3" creationId="{683F15A7-9F9F-4D23-AB6F-79FB15BFE3F5}"/>
          </ac:spMkLst>
        </pc:spChg>
        <pc:spChg chg="add del mod">
          <ac:chgData name="Aniket Chhabra" userId="598e0514-bef3-4e71-b6aa-f2edd6441cff" providerId="ADAL" clId="{ECDE8B54-5AC0-4A5B-A489-DA6DF2CFE128}" dt="2021-09-04T12:33:50.391" v="3"/>
          <ac:spMkLst>
            <pc:docMk/>
            <pc:sldMk cId="1644857559" sldId="270"/>
            <ac:spMk id="4" creationId="{73344098-9A5C-4B78-BBE0-A348C5330EDF}"/>
          </ac:spMkLst>
        </pc:spChg>
        <pc:spChg chg="add del mod">
          <ac:chgData name="Aniket Chhabra" userId="598e0514-bef3-4e71-b6aa-f2edd6441cff" providerId="ADAL" clId="{ECDE8B54-5AC0-4A5B-A489-DA6DF2CFE128}" dt="2021-09-04T12:33:50.391" v="3"/>
          <ac:spMkLst>
            <pc:docMk/>
            <pc:sldMk cId="1644857559" sldId="270"/>
            <ac:spMk id="9" creationId="{990E73D8-36CA-499D-9A8F-6D7B46BF2999}"/>
          </ac:spMkLst>
        </pc:spChg>
        <pc:spChg chg="add del mod">
          <ac:chgData name="Aniket Chhabra" userId="598e0514-bef3-4e71-b6aa-f2edd6441cff" providerId="ADAL" clId="{ECDE8B54-5AC0-4A5B-A489-DA6DF2CFE128}" dt="2021-09-04T12:33:50.391" v="3"/>
          <ac:spMkLst>
            <pc:docMk/>
            <pc:sldMk cId="1644857559" sldId="270"/>
            <ac:spMk id="10" creationId="{28AAA3E9-A5BD-4A33-AFBA-391F17699DA8}"/>
          </ac:spMkLst>
        </pc:spChg>
        <pc:spChg chg="add del mod">
          <ac:chgData name="Aniket Chhabra" userId="598e0514-bef3-4e71-b6aa-f2edd6441cff" providerId="ADAL" clId="{ECDE8B54-5AC0-4A5B-A489-DA6DF2CFE128}" dt="2021-09-04T12:33:50.391" v="3"/>
          <ac:spMkLst>
            <pc:docMk/>
            <pc:sldMk cId="1644857559" sldId="270"/>
            <ac:spMk id="11" creationId="{A5D4E3ED-829F-471B-98B5-DE6B6F041B9E}"/>
          </ac:spMkLst>
        </pc:spChg>
        <pc:spChg chg="add mod">
          <ac:chgData name="Aniket Chhabra" userId="598e0514-bef3-4e71-b6aa-f2edd6441cff" providerId="ADAL" clId="{ECDE8B54-5AC0-4A5B-A489-DA6DF2CFE128}" dt="2021-09-04T12:34:00.307" v="150" actId="948"/>
          <ac:spMkLst>
            <pc:docMk/>
            <pc:sldMk cId="1644857559" sldId="270"/>
            <ac:spMk id="12" creationId="{AC2F28B0-86D6-4FE8-9D6B-699585BC889C}"/>
          </ac:spMkLst>
        </pc:spChg>
        <pc:spChg chg="add mod">
          <ac:chgData name="Aniket Chhabra" userId="598e0514-bef3-4e71-b6aa-f2edd6441cff" providerId="ADAL" clId="{ECDE8B54-5AC0-4A5B-A489-DA6DF2CFE128}" dt="2021-09-04T12:33:55.798" v="106" actId="1076"/>
          <ac:spMkLst>
            <pc:docMk/>
            <pc:sldMk cId="1644857559" sldId="270"/>
            <ac:spMk id="17" creationId="{4C4F2621-0CB5-4A85-8F13-2267DF0FFFB8}"/>
          </ac:spMkLst>
        </pc:spChg>
        <pc:spChg chg="add mod">
          <ac:chgData name="Aniket Chhabra" userId="598e0514-bef3-4e71-b6aa-f2edd6441cff" providerId="ADAL" clId="{ECDE8B54-5AC0-4A5B-A489-DA6DF2CFE128}" dt="2021-09-04T12:33:55.798" v="106" actId="1076"/>
          <ac:spMkLst>
            <pc:docMk/>
            <pc:sldMk cId="1644857559" sldId="270"/>
            <ac:spMk id="18" creationId="{701A8DE7-450E-41CE-9C7B-15989D6914E3}"/>
          </ac:spMkLst>
        </pc:spChg>
        <pc:spChg chg="add mod">
          <ac:chgData name="Aniket Chhabra" userId="598e0514-bef3-4e71-b6aa-f2edd6441cff" providerId="ADAL" clId="{ECDE8B54-5AC0-4A5B-A489-DA6DF2CFE128}" dt="2021-09-04T12:33:55.798" v="106" actId="1076"/>
          <ac:spMkLst>
            <pc:docMk/>
            <pc:sldMk cId="1644857559" sldId="270"/>
            <ac:spMk id="19" creationId="{EA45E377-96A1-4690-A255-F2AA45DEA231}"/>
          </ac:spMkLst>
        </pc:spChg>
        <pc:spChg chg="add del mod modVis">
          <ac:chgData name="Aniket Chhabra" userId="598e0514-bef3-4e71-b6aa-f2edd6441cff" providerId="ADAL" clId="{ECDE8B54-5AC0-4A5B-A489-DA6DF2CFE128}" dt="2021-09-04T12:33:53.663" v="90"/>
          <ac:spMkLst>
            <pc:docMk/>
            <pc:sldMk cId="1644857559" sldId="270"/>
            <ac:spMk id="20" creationId="{BB4F38A6-C53F-4B89-A25F-37D67A74D083}"/>
          </ac:spMkLst>
        </pc:spChg>
        <pc:spChg chg="add del mod modVis">
          <ac:chgData name="Aniket Chhabra" userId="598e0514-bef3-4e71-b6aa-f2edd6441cff" providerId="ADAL" clId="{ECDE8B54-5AC0-4A5B-A489-DA6DF2CFE128}" dt="2021-09-04T12:33:56.405" v="146"/>
          <ac:spMkLst>
            <pc:docMk/>
            <pc:sldMk cId="1644857559" sldId="270"/>
            <ac:spMk id="22" creationId="{BDA6D602-F89F-4871-8639-068E1A3A3AED}"/>
          </ac:spMkLst>
        </pc:spChg>
        <pc:spChg chg="add del mod modVis">
          <ac:chgData name="Aniket Chhabra" userId="598e0514-bef3-4e71-b6aa-f2edd6441cff" providerId="ADAL" clId="{ECDE8B54-5AC0-4A5B-A489-DA6DF2CFE128}" dt="2021-09-04T12:34:00.408" v="189"/>
          <ac:spMkLst>
            <pc:docMk/>
            <pc:sldMk cId="1644857559" sldId="270"/>
            <ac:spMk id="23" creationId="{F3AB8643-076D-4C25-99E0-FA5C4147063D}"/>
          </ac:spMkLst>
        </pc:spChg>
        <pc:graphicFrameChg chg="add mod ord modVis">
          <ac:chgData name="Aniket Chhabra" userId="598e0514-bef3-4e71-b6aa-f2edd6441cff" providerId="ADAL" clId="{ECDE8B54-5AC0-4A5B-A489-DA6DF2CFE128}" dt="2021-09-04T12:34:00.413" v="191"/>
          <ac:graphicFrameMkLst>
            <pc:docMk/>
            <pc:sldMk cId="1644857559" sldId="270"/>
            <ac:graphicFrameMk id="21" creationId="{F137CBC8-3AF6-4A0B-82B2-C23E3EE6EAD0}"/>
          </ac:graphicFrameMkLst>
        </pc:graphicFrameChg>
        <pc:picChg chg="add del mod">
          <ac:chgData name="Aniket Chhabra" userId="598e0514-bef3-4e71-b6aa-f2edd6441cff" providerId="ADAL" clId="{ECDE8B54-5AC0-4A5B-A489-DA6DF2CFE128}" dt="2021-09-04T12:33:50.391" v="3"/>
          <ac:picMkLst>
            <pc:docMk/>
            <pc:sldMk cId="1644857559" sldId="270"/>
            <ac:picMk id="5" creationId="{99213894-7ABD-4CE9-AEDD-9D463AE48467}"/>
          </ac:picMkLst>
        </pc:picChg>
        <pc:picChg chg="add del mod">
          <ac:chgData name="Aniket Chhabra" userId="598e0514-bef3-4e71-b6aa-f2edd6441cff" providerId="ADAL" clId="{ECDE8B54-5AC0-4A5B-A489-DA6DF2CFE128}" dt="2021-09-04T12:33:50.391" v="3"/>
          <ac:picMkLst>
            <pc:docMk/>
            <pc:sldMk cId="1644857559" sldId="270"/>
            <ac:picMk id="6" creationId="{651078F9-760F-428A-8893-24174FD7AAE7}"/>
          </ac:picMkLst>
        </pc:picChg>
        <pc:picChg chg="add del mod">
          <ac:chgData name="Aniket Chhabra" userId="598e0514-bef3-4e71-b6aa-f2edd6441cff" providerId="ADAL" clId="{ECDE8B54-5AC0-4A5B-A489-DA6DF2CFE128}" dt="2021-09-04T12:33:50.391" v="3"/>
          <ac:picMkLst>
            <pc:docMk/>
            <pc:sldMk cId="1644857559" sldId="270"/>
            <ac:picMk id="7" creationId="{588B358B-7EDE-4F91-BBB0-720A2B6E1F2A}"/>
          </ac:picMkLst>
        </pc:picChg>
        <pc:picChg chg="add del mod">
          <ac:chgData name="Aniket Chhabra" userId="598e0514-bef3-4e71-b6aa-f2edd6441cff" providerId="ADAL" clId="{ECDE8B54-5AC0-4A5B-A489-DA6DF2CFE128}" dt="2021-09-04T12:33:50.391" v="3"/>
          <ac:picMkLst>
            <pc:docMk/>
            <pc:sldMk cId="1644857559" sldId="270"/>
            <ac:picMk id="8" creationId="{D49F322D-3D3D-4DDE-A24D-16F4AD6FC179}"/>
          </ac:picMkLst>
        </pc:picChg>
        <pc:picChg chg="add mod">
          <ac:chgData name="Aniket Chhabra" userId="598e0514-bef3-4e71-b6aa-f2edd6441cff" providerId="ADAL" clId="{ECDE8B54-5AC0-4A5B-A489-DA6DF2CFE128}" dt="2021-09-04T12:33:55.798" v="106" actId="1076"/>
          <ac:picMkLst>
            <pc:docMk/>
            <pc:sldMk cId="1644857559" sldId="270"/>
            <ac:picMk id="13" creationId="{D227BA92-9FB7-4BCD-A90D-763C58421974}"/>
          </ac:picMkLst>
        </pc:picChg>
        <pc:picChg chg="add mod">
          <ac:chgData name="Aniket Chhabra" userId="598e0514-bef3-4e71-b6aa-f2edd6441cff" providerId="ADAL" clId="{ECDE8B54-5AC0-4A5B-A489-DA6DF2CFE128}" dt="2021-09-04T12:33:55.798" v="106" actId="1076"/>
          <ac:picMkLst>
            <pc:docMk/>
            <pc:sldMk cId="1644857559" sldId="270"/>
            <ac:picMk id="14" creationId="{3F6C35A5-6CDD-4C71-9F49-888FF96012A5}"/>
          </ac:picMkLst>
        </pc:picChg>
        <pc:picChg chg="add mod">
          <ac:chgData name="Aniket Chhabra" userId="598e0514-bef3-4e71-b6aa-f2edd6441cff" providerId="ADAL" clId="{ECDE8B54-5AC0-4A5B-A489-DA6DF2CFE128}" dt="2021-09-04T12:33:55.798" v="106" actId="1076"/>
          <ac:picMkLst>
            <pc:docMk/>
            <pc:sldMk cId="1644857559" sldId="270"/>
            <ac:picMk id="15" creationId="{CDE568A2-01E3-448A-AD48-4DEDBA5BEE3D}"/>
          </ac:picMkLst>
        </pc:picChg>
        <pc:picChg chg="add mod">
          <ac:chgData name="Aniket Chhabra" userId="598e0514-bef3-4e71-b6aa-f2edd6441cff" providerId="ADAL" clId="{ECDE8B54-5AC0-4A5B-A489-DA6DF2CFE128}" dt="2021-09-04T12:33:55.798" v="106" actId="1076"/>
          <ac:picMkLst>
            <pc:docMk/>
            <pc:sldMk cId="1644857559" sldId="270"/>
            <ac:picMk id="16" creationId="{D07D623C-FDA9-4B62-A48B-EEAD46FC76E9}"/>
          </ac:picMkLst>
        </pc:picChg>
      </pc:sldChg>
      <pc:sldMasterChg chg="addSp modSp mod">
        <pc:chgData name="Aniket Chhabra" userId="598e0514-bef3-4e71-b6aa-f2edd6441cff" providerId="ADAL" clId="{ECDE8B54-5AC0-4A5B-A489-DA6DF2CFE128}" dt="2021-09-04T12:33:53.662" v="88"/>
        <pc:sldMasterMkLst>
          <pc:docMk/>
          <pc:sldMasterMk cId="0" sldId="2147483648"/>
        </pc:sldMasterMkLst>
        <pc:graphicFrameChg chg="add mod ord modVis">
          <ac:chgData name="Aniket Chhabra" userId="598e0514-bef3-4e71-b6aa-f2edd6441cff" providerId="ADAL" clId="{ECDE8B54-5AC0-4A5B-A489-DA6DF2CFE128}" dt="2021-09-04T12:33:53.662" v="88"/>
          <ac:graphicFrameMkLst>
            <pc:docMk/>
            <pc:sldMasterMk cId="0" sldId="2147483648"/>
            <ac:graphicFrameMk id="2" creationId="{DD03432A-39B3-43EE-8B2F-6FE2262DB75C}"/>
          </ac:graphicFrameMkLst>
        </pc:graphicFrameChg>
      </pc:sldMasterChg>
      <pc:sldMasterChg chg="addSp modSp mod">
        <pc:chgData name="Aniket Chhabra" userId="598e0514-bef3-4e71-b6aa-f2edd6441cff" providerId="ADAL" clId="{ECDE8B54-5AC0-4A5B-A489-DA6DF2CFE128}" dt="2021-09-04T12:33:53.616" v="73"/>
        <pc:sldMasterMkLst>
          <pc:docMk/>
          <pc:sldMasterMk cId="0" sldId="2147483654"/>
        </pc:sldMasterMkLst>
        <pc:graphicFrameChg chg="add mod ord modVis">
          <ac:chgData name="Aniket Chhabra" userId="598e0514-bef3-4e71-b6aa-f2edd6441cff" providerId="ADAL" clId="{ECDE8B54-5AC0-4A5B-A489-DA6DF2CFE128}" dt="2021-09-04T12:33:53.616" v="73"/>
          <ac:graphicFrameMkLst>
            <pc:docMk/>
            <pc:sldMasterMk cId="0" sldId="2147483654"/>
            <ac:graphicFrameMk id="2" creationId="{4643ABFD-53A2-477C-9955-7656878DE049}"/>
          </ac:graphicFrameMkLst>
        </pc:graphicFrameChg>
      </pc:sldMasterChg>
      <pc:sldMasterChg chg="addSp modSp mod">
        <pc:chgData name="Aniket Chhabra" userId="598e0514-bef3-4e71-b6aa-f2edd6441cff" providerId="ADAL" clId="{ECDE8B54-5AC0-4A5B-A489-DA6DF2CFE128}" dt="2021-09-04T12:33:53.580" v="58"/>
        <pc:sldMasterMkLst>
          <pc:docMk/>
          <pc:sldMasterMk cId="0" sldId="2147483656"/>
        </pc:sldMasterMkLst>
        <pc:graphicFrameChg chg="add mod ord modVis">
          <ac:chgData name="Aniket Chhabra" userId="598e0514-bef3-4e71-b6aa-f2edd6441cff" providerId="ADAL" clId="{ECDE8B54-5AC0-4A5B-A489-DA6DF2CFE128}" dt="2021-09-04T12:33:53.580" v="58"/>
          <ac:graphicFrameMkLst>
            <pc:docMk/>
            <pc:sldMasterMk cId="0" sldId="2147483656"/>
            <ac:graphicFrameMk id="2" creationId="{BB5FFAC7-8709-40A1-A806-C54B6A5FBF14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0" name="Google Shape;8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4" name="Google Shape;144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0" name="Google Shape;15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g5bd185188a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56" name="Google Shape;156;g5bd185188a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57" name="Google Shape;157;g5bd185188a_1_0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3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5bd185188a_1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64" name="Google Shape;164;g5bd185188a_1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65" name="Google Shape;165;g5bd185188a_1_7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4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2" name="Google Shape;17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5" name="Google Shape;8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3" name="Google Shape;9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0" name="Google Shape;10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9" name="Google Shape;10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" name="Google Shape;11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" name="Google Shape;12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2" name="Google Shape;132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9"/>
          <p:cNvSpPr txBox="1"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20" name="Google Shape;20;p19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ctr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888888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R="0"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R="0" lvl="3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R="0" lvl="4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R="0"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Google Shape;21;p19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19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19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24"/>
          <p:cNvSpPr txBox="1">
            <a:spLocks noGrp="1"/>
          </p:cNvSpPr>
          <p:nvPr>
            <p:ph type="title"/>
          </p:nvPr>
        </p:nvSpPr>
        <p:spPr>
          <a:xfrm rot="5400000">
            <a:off x="7285037" y="1828802"/>
            <a:ext cx="585152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26" name="Google Shape;26;p24"/>
          <p:cNvSpPr txBox="1">
            <a:spLocks noGrp="1"/>
          </p:cNvSpPr>
          <p:nvPr>
            <p:ph type="body" idx="1"/>
          </p:nvPr>
        </p:nvSpPr>
        <p:spPr>
          <a:xfrm rot="5400000">
            <a:off x="1697037" y="-812799"/>
            <a:ext cx="5851525" cy="8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24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24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24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32" name="Google Shape;32;p25"/>
          <p:cNvSpPr txBox="1">
            <a:spLocks noGrp="1"/>
          </p:cNvSpPr>
          <p:nvPr>
            <p:ph type="body" idx="1"/>
          </p:nvPr>
        </p:nvSpPr>
        <p:spPr>
          <a:xfrm rot="5400000">
            <a:off x="3833019" y="-1623219"/>
            <a:ext cx="4525962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25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25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25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6"/>
          <p:cNvSpPr txBox="1"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38" name="Google Shape;38;p26"/>
          <p:cNvSpPr txBox="1">
            <a:spLocks noGrp="1"/>
          </p:cNvSpPr>
          <p:nvPr>
            <p:ph type="body"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26"/>
          <p:cNvSpPr txBox="1">
            <a:spLocks noGrp="1"/>
          </p:cNvSpPr>
          <p:nvPr>
            <p:ph type="body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26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7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45" name="Google Shape;45;p27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27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27"/>
          <p:cNvSpPr txBox="1">
            <a:spLocks noGrp="1"/>
          </p:cNvSpPr>
          <p:nvPr>
            <p:ph type="body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27"/>
          <p:cNvSpPr txBox="1">
            <a:spLocks noGrp="1"/>
          </p:cNvSpPr>
          <p:nvPr>
            <p:ph type="body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Google Shape;49;p27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Google Shape;50;p27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Google Shape;51;p27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21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62" name="Google Shape;62;p2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" name="Google Shape;63;p21"/>
          <p:cNvSpPr txBox="1">
            <a:spLocks noGrp="1"/>
          </p:cNvSpPr>
          <p:nvPr>
            <p:ph type="ftr" idx="11"/>
          </p:nvPr>
        </p:nvSpPr>
        <p:spPr>
          <a:xfrm>
            <a:off x="4165600" y="647700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03432A-39B3-43EE-8B2F-6FE2262DB7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75417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03432A-39B3-43EE-8B2F-6FE2262DB7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8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11" name="Google Shape;11;p18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8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8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8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18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8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" name="Google Shape;17;p18" descr="E:\Brand &amp; all that\Greatlearning Logo\Greatlearning Logo.jpg"/>
          <p:cNvPicPr preferRelativeResize="0"/>
          <p:nvPr/>
        </p:nvPicPr>
        <p:blipFill rotWithShape="1">
          <a:blip r:embed="rId10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43ABFD-53A2-477C-9955-7656878DE0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285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43ABFD-53A2-477C-9955-7656878DE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Google Shape;53;p20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20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5" name="Google Shape;55;p20" descr="E:\Brand &amp; all that\Greatlearning Logo\Greatlearning Logo.jpg"/>
          <p:cNvPicPr preferRelativeResize="0"/>
          <p:nvPr/>
        </p:nvPicPr>
        <p:blipFill rotWithShape="1">
          <a:blip r:embed="rId6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56;p20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ftr" idx="11"/>
          </p:nvPr>
        </p:nvSpPr>
        <p:spPr>
          <a:xfrm>
            <a:off x="4165600" y="647700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5FFAC7-8709-40A1-A806-C54B6A5FB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2554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B5FFAC7-8709-40A1-A806-C54B6A5FB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oogle Shape;66;p22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67;p22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8" name="Google Shape;68;p22" descr="E:\Brand &amp; all that\Greatlearning Logo\Greatlearning Logo.jpg"/>
          <p:cNvPicPr preferRelativeResize="0"/>
          <p:nvPr/>
        </p:nvPicPr>
        <p:blipFill rotWithShape="1">
          <a:blip r:embed="rId6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ics.uci.edu/ml/datasets/Breast+Cancer+Wisconsin+(Original)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"/>
          <p:cNvSpPr txBox="1">
            <a:spLocks noGrp="1"/>
          </p:cNvSpPr>
          <p:nvPr>
            <p:ph type="ctrTitle"/>
          </p:nvPr>
        </p:nvSpPr>
        <p:spPr>
          <a:xfrm>
            <a:off x="2438400" y="2797175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None/>
            </a:pPr>
            <a:r>
              <a:rPr lang="en-IN"/>
              <a:t>Support Vector Machines (SVM)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600">
                <a:latin typeface="Calibri"/>
                <a:ea typeface="Calibri"/>
                <a:cs typeface="Calibri"/>
                <a:sym typeface="Calibri"/>
              </a:rPr>
              <a:t>Kernel</a:t>
            </a:r>
            <a:endParaRPr/>
          </a:p>
          <a:p>
            <a:pPr marL="91440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–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Used to specify the type of kernel we choose to describe the data points. We need kernels as data when scaled on higher dimensions has a higher probability of being linearly seperable. In sklearn, we can use many kernels such as – rbf, poly, sigmoid, linear, precomputed etc.</a:t>
            </a:r>
            <a:endParaRPr/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200">
                <a:latin typeface="Calibri"/>
                <a:ea typeface="Calibri"/>
                <a:cs typeface="Calibri"/>
                <a:sym typeface="Calibri"/>
              </a:rPr>
              <a:t>C</a:t>
            </a:r>
            <a:endParaRPr/>
          </a:p>
          <a:p>
            <a:pPr marL="91440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–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Defines the misclassification error of the model</a:t>
            </a:r>
            <a:endParaRPr/>
          </a:p>
          <a:p>
            <a:pPr marL="91440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–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 if set to high, will have a very high penalty for the misclassified points and vice versa.</a:t>
            </a:r>
            <a:endParaRPr/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600">
                <a:latin typeface="Calibri"/>
                <a:ea typeface="Calibri"/>
                <a:cs typeface="Calibri"/>
                <a:sym typeface="Calibri"/>
              </a:rPr>
              <a:t>Gamma</a:t>
            </a:r>
            <a:endParaRPr/>
          </a:p>
          <a:p>
            <a:pPr marL="91440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–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Defines the radius of influence of data points in classification.</a:t>
            </a:r>
            <a:endParaRPr/>
          </a:p>
          <a:p>
            <a:pPr marL="91440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–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By Increasing gamma, we have a tight radius of influence of the data points in the classification.</a:t>
            </a:r>
            <a:endParaRPr/>
          </a:p>
          <a:p>
            <a:pPr marL="914400" lvl="1" indent="-2286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</a:pPr>
            <a:endParaRPr sz="2200">
              <a:latin typeface="Calibri"/>
              <a:ea typeface="Calibri"/>
              <a:cs typeface="Calibri"/>
              <a:sym typeface="Calibri"/>
            </a:endParaRPr>
          </a:p>
          <a:p>
            <a:pPr marL="25400" lvl="1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These parameters need to be tried for different values to come to the optimum value/ highest accuracy model.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6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2286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</a:pPr>
            <a:endParaRPr sz="2200">
              <a:latin typeface="Calibri"/>
              <a:ea typeface="Calibri"/>
              <a:cs typeface="Calibri"/>
              <a:sym typeface="Calibri"/>
            </a:endParaRPr>
          </a:p>
          <a:p>
            <a:pPr marL="914400" lvl="1" indent="-2286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</a:pPr>
            <a:endParaRPr sz="22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" name="Google Shape;141;p1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u="sng">
                <a:latin typeface="Times New Roman"/>
                <a:ea typeface="Times New Roman"/>
                <a:cs typeface="Times New Roman"/>
                <a:sym typeface="Times New Roman"/>
              </a:rPr>
              <a:t>Some parameters of SVM</a:t>
            </a:r>
            <a:endParaRPr sz="3400" u="sng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11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u="sng">
                <a:latin typeface="Times New Roman"/>
                <a:ea typeface="Times New Roman"/>
                <a:cs typeface="Times New Roman"/>
                <a:sym typeface="Times New Roman"/>
              </a:rPr>
              <a:t>Industry applications of SVM</a:t>
            </a:r>
            <a:endParaRPr sz="3400" u="sng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47" name="Google Shape;147;p1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2000">
                <a:latin typeface="Calibri"/>
                <a:ea typeface="Calibri"/>
                <a:cs typeface="Calibri"/>
                <a:sym typeface="Calibri"/>
              </a:rPr>
              <a:t>text (and hypertext) categorization</a:t>
            </a:r>
            <a:endParaRPr sz="2000"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2000">
                <a:latin typeface="Calibri"/>
                <a:ea typeface="Calibri"/>
                <a:cs typeface="Calibri"/>
                <a:sym typeface="Calibri"/>
              </a:rPr>
              <a:t>image classification</a:t>
            </a:r>
            <a:endParaRPr sz="2000"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2000">
                <a:latin typeface="Calibri"/>
                <a:ea typeface="Calibri"/>
                <a:cs typeface="Calibri"/>
                <a:sym typeface="Calibri"/>
              </a:rPr>
              <a:t>bioinformatics (Protein classification, Cancer classification)</a:t>
            </a:r>
            <a:endParaRPr sz="2000"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2000">
                <a:latin typeface="Calibri"/>
                <a:ea typeface="Calibri"/>
                <a:cs typeface="Calibri"/>
                <a:sym typeface="Calibri"/>
              </a:rPr>
              <a:t>handwritten character recognition</a:t>
            </a:r>
            <a:endParaRPr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14"/>
          <p:cNvSpPr txBox="1">
            <a:spLocks noGrp="1"/>
          </p:cNvSpPr>
          <p:nvPr>
            <p:ph type="title"/>
          </p:nvPr>
        </p:nvSpPr>
        <p:spPr>
          <a:xfrm>
            <a:off x="609600" y="5032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 u="sng">
                <a:latin typeface="Times New Roman"/>
                <a:ea typeface="Times New Roman"/>
                <a:cs typeface="Times New Roman"/>
                <a:sym typeface="Times New Roman"/>
              </a:rPr>
              <a:t>Case study</a:t>
            </a:r>
            <a:endParaRPr sz="3600" u="sng"/>
          </a:p>
        </p:txBody>
      </p:sp>
      <p:sp>
        <p:nvSpPr>
          <p:cNvPr id="153" name="Google Shape;153;p14"/>
          <p:cNvSpPr txBox="1">
            <a:spLocks noGrp="1"/>
          </p:cNvSpPr>
          <p:nvPr>
            <p:ph type="body" idx="1"/>
          </p:nvPr>
        </p:nvSpPr>
        <p:spPr>
          <a:xfrm>
            <a:off x="609600" y="1646237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>
                <a:latin typeface="Times New Roman"/>
                <a:ea typeface="Times New Roman"/>
                <a:cs typeface="Times New Roman"/>
                <a:sym typeface="Times New Roman"/>
              </a:rPr>
              <a:t>Cancer detection using SVM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>
                <a:latin typeface="Calibri"/>
                <a:ea typeface="Calibri"/>
                <a:cs typeface="Calibri"/>
                <a:sym typeface="Calibri"/>
              </a:rPr>
              <a:t>Objective: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2400"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Using historical data about patients who were diagnosed with cancer, enable the doctors to confidently differentiate malignant cases from benign given the independent attributes.</a:t>
            </a:r>
            <a:endParaRPr sz="2400">
              <a:highlight>
                <a:srgbClr val="FFFFFF"/>
              </a:highlight>
              <a:latin typeface="Calibri"/>
              <a:ea typeface="Calibri"/>
              <a:cs typeface="Calibri"/>
              <a:sym typeface="Calibri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highlight>
                  <a:srgbClr val="FFFFFF"/>
                </a:highlight>
                <a:latin typeface="Calibri"/>
                <a:ea typeface="Calibri"/>
                <a:cs typeface="Calibri"/>
                <a:sym typeface="Calibri"/>
              </a:rPr>
              <a:t>Prepare the data and create the model.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g5bd185188a_1_0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</a:pPr>
            <a:r>
              <a:rPr lang="en-IN" sz="3400" u="sng">
                <a:latin typeface="Times New Roman"/>
                <a:ea typeface="Times New Roman"/>
                <a:cs typeface="Times New Roman"/>
                <a:sym typeface="Times New Roman"/>
              </a:rPr>
              <a:t>Dataset</a:t>
            </a:r>
            <a:endParaRPr sz="3400" u="sng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60" name="Google Shape;160;g5bd185188a_1_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1153700" cy="505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1800" u="sng">
                <a:solidFill>
                  <a:schemeClr val="dk1"/>
                </a:solidFill>
                <a:highlight>
                  <a:srgbClr val="FFFFFF"/>
                </a:highlight>
                <a:latin typeface="Arial"/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chive.ics.uci.edu/ml/datasets/Breast+Cancer+Wisconsin+(Original)</a:t>
            </a:r>
            <a:endParaRPr sz="18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ribute Information:</a:t>
            </a:r>
            <a:endParaRPr sz="18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. Sample code number: id number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. Clump Thickness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. Uniformity of Cell Size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4. Uniformity of Cell Shape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5. Marginal Adhesion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. Single Epithelial Cell Size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7. Bare Nuclei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8. Bland Chromatin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9. Normal Nucleoli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0. Mitoses: 1 - 10 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IN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. Class: (2 for benign, 4 for malignant)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>
              <a:solidFill>
                <a:schemeClr val="dk1"/>
              </a:solidFill>
            </a:endParaRPr>
          </a:p>
        </p:txBody>
      </p:sp>
      <p:sp>
        <p:nvSpPr>
          <p:cNvPr id="161" name="Google Shape;161;g5bd185188a_1_0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3</a:t>
            </a:fld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g5bd185188a_1_7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u="sng">
                <a:latin typeface="Times New Roman"/>
                <a:ea typeface="Times New Roman"/>
                <a:cs typeface="Times New Roman"/>
                <a:sym typeface="Times New Roman"/>
              </a:rPr>
              <a:t>Steps to follow</a:t>
            </a:r>
            <a:endParaRPr sz="3400" u="sng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68" name="Google Shape;168;g5bd185188a_1_7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41910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SzPts val="3000"/>
              <a:buFont typeface="Arial"/>
              <a:buAutoNum type="arabicPeriod"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Import Libraries and Data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419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000"/>
              <a:buFont typeface="Arial"/>
              <a:buAutoNum type="arabicPeriod"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Data Preparation and analysis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419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000"/>
              <a:buFont typeface="Arial"/>
              <a:buAutoNum type="arabicPeriod"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Split the dataset into training and test datasets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419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000"/>
              <a:buFont typeface="Arial"/>
              <a:buAutoNum type="arabicPeriod"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Build a Support Vector Machine with different kernels</a:t>
            </a:r>
            <a:endParaRPr/>
          </a:p>
          <a:p>
            <a:pPr marL="457200" lvl="0" indent="-419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000"/>
              <a:buFont typeface="Arial"/>
              <a:buAutoNum type="arabicPeriod"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Compare the accuracies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69;g5bd185188a_1_7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4</a:t>
            </a:fld>
            <a:endParaRPr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7"/>
          <p:cNvSpPr txBox="1"/>
          <p:nvPr/>
        </p:nvSpPr>
        <p:spPr>
          <a:xfrm>
            <a:off x="4219575" y="4572000"/>
            <a:ext cx="3454400" cy="923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Times New Roman"/>
              <a:buNone/>
            </a:pPr>
            <a:r>
              <a:rPr lang="en-IN" sz="5400" b="1" i="0" u="none" strike="noStrike" cap="none">
                <a:solidFill>
                  <a:schemeClr val="accent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Questions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5" name="Google Shape;175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639050" y="3798887"/>
            <a:ext cx="3028950" cy="3028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1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84325" y="1450975"/>
            <a:ext cx="4359275" cy="2663825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17"/>
          <p:cNvSpPr txBox="1"/>
          <p:nvPr/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Times New Roman"/>
              <a:buNone/>
            </a:pPr>
            <a:r>
              <a:rPr lang="en-IN" sz="4000" b="0" i="0" u="sng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VM -  Topics</a:t>
            </a:r>
            <a:endParaRPr/>
          </a:p>
        </p:txBody>
      </p:sp>
      <p:sp>
        <p:nvSpPr>
          <p:cNvPr id="88" name="Google Shape;88;p2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Introduction to SVM</a:t>
            </a:r>
            <a:endParaRPr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Property of line in Perceptron Algorithm</a:t>
            </a:r>
            <a:endParaRPr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How SVM looks in 2D space</a:t>
            </a:r>
            <a:endParaRPr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Kernel SVM</a:t>
            </a:r>
            <a:endParaRPr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Parameters of SVM.</a:t>
            </a:r>
            <a:endParaRPr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Case study on SVM </a:t>
            </a:r>
            <a:b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</a:b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1905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1905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baseline="-25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1905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52400" lvl="0" indent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b="0" i="0" u="non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89" name="Google Shape;89;p2"/>
          <p:cNvSpPr txBox="1"/>
          <p:nvPr/>
        </p:nvSpPr>
        <p:spPr>
          <a:xfrm>
            <a:off x="609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2"/>
          <p:cNvSpPr txBox="1"/>
          <p:nvPr/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Times New Roman"/>
              <a:buNone/>
            </a:pPr>
            <a:fld id="{00000000-1234-1234-1234-123412341234}" type="slidenum">
              <a:rPr lang="en-IN" sz="1400" b="0" i="0" u="none" strike="noStrike" cap="none">
                <a:solidFill>
                  <a:srgbClr val="595959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2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F137CBC8-3AF6-4A0B-82B2-C23E3EE6E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652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F137CBC8-3AF6-4A0B-82B2-C23E3EE6E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AC2F28B0-86D6-4FE8-9D6B-699585BC8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3" y="200774"/>
            <a:ext cx="11187113" cy="311150"/>
          </a:xfrm>
        </p:spPr>
        <p:txBody>
          <a:bodyPr vert="horz"/>
          <a:lstStyle/>
          <a:p>
            <a:r>
              <a:rPr lang="en-US" dirty="0"/>
              <a:t>Support Vectors – What are they?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227BA92-9FB7-4BCD-A90D-763C584219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490" y="1716870"/>
            <a:ext cx="5409511" cy="179290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F6C35A5-6CDD-4C71-9F49-888FF96012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7738" y="1692467"/>
            <a:ext cx="5409512" cy="18173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DE568A2-01E3-448A-AD48-4DEDBA5BEE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07738" y="4389041"/>
            <a:ext cx="5409511" cy="17908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07D623C-FDA9-4B62-A48B-EEAD46FC76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2702" y="4389041"/>
            <a:ext cx="5304299" cy="1790820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4C4F2621-0CB5-4A85-8F13-2267DF0FFFB8}"/>
              </a:ext>
            </a:extLst>
          </p:cNvPr>
          <p:cNvSpPr/>
          <p:nvPr/>
        </p:nvSpPr>
        <p:spPr>
          <a:xfrm rot="5400000">
            <a:off x="9579654" y="3628883"/>
            <a:ext cx="727114" cy="53982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01A8DE7-450E-41CE-9C7B-15989D6914E3}"/>
              </a:ext>
            </a:extLst>
          </p:cNvPr>
          <p:cNvSpPr/>
          <p:nvPr/>
        </p:nvSpPr>
        <p:spPr>
          <a:xfrm>
            <a:off x="5833389" y="2646544"/>
            <a:ext cx="727114" cy="53982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EA45E377-96A1-4690-A255-F2AA45DEA231}"/>
              </a:ext>
            </a:extLst>
          </p:cNvPr>
          <p:cNvSpPr/>
          <p:nvPr/>
        </p:nvSpPr>
        <p:spPr>
          <a:xfrm rot="10800000">
            <a:off x="5833389" y="4925197"/>
            <a:ext cx="727114" cy="53982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44857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3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u="sng">
                <a:latin typeface="Times New Roman"/>
                <a:ea typeface="Times New Roman"/>
                <a:cs typeface="Times New Roman"/>
                <a:sym typeface="Times New Roman"/>
              </a:rPr>
              <a:t>Introduction to SVM</a:t>
            </a:r>
            <a:endParaRPr u="sng"/>
          </a:p>
        </p:txBody>
      </p:sp>
      <p:sp>
        <p:nvSpPr>
          <p:cNvPr id="96" name="Google Shape;96;p3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Known as maximum-margin hyperplane, finds the linear model with max margin. Unlike the linear classifiers, objective is not minimizing sum of squared errors but finding a line/plane that separates two or more groups with maximum margins. 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97" name="Google Shape;97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801835" y="3156495"/>
            <a:ext cx="2849764" cy="27348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Google Shape;102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66652" y="1600200"/>
            <a:ext cx="2259874" cy="17576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" name="Google Shape;103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997234" y="1600200"/>
            <a:ext cx="2259875" cy="18495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" name="Google Shape;104;p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027818" y="1600200"/>
            <a:ext cx="2484630" cy="1849545"/>
          </a:xfrm>
          <a:prstGeom prst="rect">
            <a:avLst/>
          </a:prstGeom>
          <a:noFill/>
          <a:ln>
            <a:noFill/>
          </a:ln>
        </p:spPr>
      </p:pic>
      <p:sp>
        <p:nvSpPr>
          <p:cNvPr id="105" name="Google Shape;105;p4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First line does separate the two sets but id too close to both red &amp; green data points.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Chances are that when this model is put in production, variance in both cluster data may force some data points on wrong side</a:t>
            </a:r>
            <a:endParaRPr sz="1800"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8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6" name="Google Shape;106;p4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u="sng">
                <a:latin typeface="Times New Roman"/>
                <a:ea typeface="Times New Roman"/>
                <a:cs typeface="Times New Roman"/>
                <a:sym typeface="Times New Roman"/>
              </a:rPr>
              <a:t>Introduction to SVM</a:t>
            </a:r>
            <a:endParaRPr u="sng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028700" lvl="1" indent="-1651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Font typeface="Arial"/>
              <a:buNone/>
            </a:pPr>
            <a:endParaRPr sz="1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1800">
                <a:latin typeface="Times New Roman"/>
                <a:ea typeface="Times New Roman"/>
                <a:cs typeface="Times New Roman"/>
                <a:sym typeface="Times New Roman"/>
              </a:rPr>
              <a:t>The second line doesn’t look so vulnerable to the variance. The two points nearest from different clusters define the margin around the line and are support vectors.</a:t>
            </a:r>
            <a:endParaRPr sz="1800"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1800">
                <a:latin typeface="Times New Roman"/>
                <a:ea typeface="Times New Roman"/>
                <a:cs typeface="Times New Roman"/>
                <a:sym typeface="Times New Roman"/>
              </a:rPr>
              <a:t>SVMs try to find the second kind of line where the line is at max distance from both the clusters simultaneously.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 b="1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1800" b="1">
                <a:latin typeface="Times New Roman"/>
                <a:ea typeface="Times New Roman"/>
                <a:cs typeface="Times New Roman"/>
                <a:sym typeface="Times New Roman"/>
              </a:rPr>
              <a:t>The</a:t>
            </a:r>
            <a:r>
              <a:rPr lang="en-IN" sz="1800"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en-IN" sz="1800" b="1">
                <a:latin typeface="Times New Roman"/>
                <a:ea typeface="Times New Roman"/>
                <a:cs typeface="Times New Roman"/>
                <a:sym typeface="Times New Roman"/>
              </a:rPr>
              <a:t>Perceptron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000" b="1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The perceptron is an algorithm used to produce a binary classifier. That is, the algorithm takes binary classified input data, along with their </a:t>
            </a:r>
            <a:r>
              <a:rPr lang="en-IN" sz="180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class membership</a:t>
            </a:r>
            <a:r>
              <a:rPr lang="en-IN" sz="1800">
                <a:latin typeface="Calibri"/>
                <a:ea typeface="Calibri"/>
                <a:cs typeface="Calibri"/>
                <a:sym typeface="Calibri"/>
              </a:rPr>
              <a:t>, and outputs a line that attempts to separate data of one class from data of the other: data points on one side of the line are of one class and data points on the other side are of the other.</a:t>
            </a:r>
            <a:endParaRPr/>
          </a:p>
          <a:p>
            <a:pPr marL="45720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/>
          </a:p>
          <a:p>
            <a:pPr marL="685800" lvl="1" indent="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</a:pPr>
            <a:endParaRPr sz="18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12" name="Google Shape;112;p5"/>
          <p:cNvSpPr txBox="1">
            <a:spLocks noGrp="1"/>
          </p:cNvSpPr>
          <p:nvPr>
            <p:ph type="title"/>
          </p:nvPr>
        </p:nvSpPr>
        <p:spPr>
          <a:xfrm>
            <a:off x="609600" y="3508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u="sng">
                <a:latin typeface="Times New Roman"/>
                <a:ea typeface="Times New Roman"/>
                <a:cs typeface="Times New Roman"/>
                <a:sym typeface="Times New Roman"/>
              </a:rPr>
              <a:t>Introduction to SVM Contd.</a:t>
            </a:r>
            <a:endParaRPr u="sng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8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 u="sng">
                <a:latin typeface="Times New Roman"/>
                <a:ea typeface="Times New Roman"/>
                <a:cs typeface="Times New Roman"/>
                <a:sym typeface="Times New Roman"/>
              </a:rPr>
              <a:t>How SVM looks in 2D space</a:t>
            </a:r>
            <a:endParaRPr sz="3600" u="sng"/>
          </a:p>
        </p:txBody>
      </p:sp>
      <p:pic>
        <p:nvPicPr>
          <p:cNvPr id="118" name="Google Shape;118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073900" y="1079082"/>
            <a:ext cx="4508500" cy="2379663"/>
          </a:xfrm>
          <a:prstGeom prst="rect">
            <a:avLst/>
          </a:prstGeom>
          <a:noFill/>
          <a:ln>
            <a:noFill/>
          </a:ln>
        </p:spPr>
      </p:pic>
      <p:sp>
        <p:nvSpPr>
          <p:cNvPr id="119" name="Google Shape;119;p8"/>
          <p:cNvSpPr txBox="1"/>
          <p:nvPr/>
        </p:nvSpPr>
        <p:spPr>
          <a:xfrm>
            <a:off x="723900" y="1651000"/>
            <a:ext cx="5143500" cy="4801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 a 2d space, the separating plane is a line.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s described, the Perceptron tries to do the same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e fig1 at the right shows a possible line.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is line when put to classification for unseen data, is more prone to errors because of the variance in data.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e SVM uses a line that looks more like fig2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e hyperplane is a plane that acts as the decision boundary.</a:t>
            </a:r>
            <a:endParaRPr/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0" name="Google Shape;120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073900" y="3661945"/>
            <a:ext cx="4508500" cy="19365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1" name="Google Shape;121;p8"/>
          <p:cNvCxnSpPr/>
          <p:nvPr/>
        </p:nvCxnSpPr>
        <p:spPr>
          <a:xfrm>
            <a:off x="8991600" y="4079081"/>
            <a:ext cx="0" cy="1104900"/>
          </a:xfrm>
          <a:prstGeom prst="straightConnector1">
            <a:avLst/>
          </a:prstGeom>
          <a:noFill/>
          <a:ln w="38100" cap="flat" cmpd="sng">
            <a:solidFill>
              <a:srgbClr val="BD4B4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2" name="Google Shape;122;p8"/>
          <p:cNvSpPr txBox="1"/>
          <p:nvPr/>
        </p:nvSpPr>
        <p:spPr>
          <a:xfrm>
            <a:off x="8407400" y="3354167"/>
            <a:ext cx="202491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g1 - A separating lin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8"/>
          <p:cNvSpPr txBox="1"/>
          <p:nvPr/>
        </p:nvSpPr>
        <p:spPr>
          <a:xfrm>
            <a:off x="8044319" y="5588315"/>
            <a:ext cx="33089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g2 - An optimal separating line (SVM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9"/>
          <p:cNvSpPr txBox="1">
            <a:spLocks noGrp="1"/>
          </p:cNvSpPr>
          <p:nvPr>
            <p:ph type="body" idx="1"/>
          </p:nvPr>
        </p:nvSpPr>
        <p:spPr>
          <a:xfrm>
            <a:off x="609600" y="1417637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Which Hyperplane to pick?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Lots of possible solutions for a,b,c.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Some methods find a separating hyperplane, but not the optimal one (e.g., neural net).</a:t>
            </a:r>
            <a:endParaRPr/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 But: Which points should influence optimality?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– All points?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	- Linear regression 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	- Neural nets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 – Or only “difficult points” close to decision boundary 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	- Support vector machines</a:t>
            </a: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29" name="Google Shape;129;p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 u="sng">
                <a:latin typeface="Times New Roman"/>
                <a:ea typeface="Times New Roman"/>
                <a:cs typeface="Times New Roman"/>
                <a:sym typeface="Times New Roman"/>
              </a:rPr>
              <a:t>How SVM looks in 2D space</a:t>
            </a:r>
            <a:endParaRPr sz="3600" u="sng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10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 u="sng">
                <a:latin typeface="Times New Roman"/>
                <a:ea typeface="Times New Roman"/>
                <a:cs typeface="Times New Roman"/>
                <a:sym typeface="Times New Roman"/>
              </a:rPr>
              <a:t>Kernel SVM</a:t>
            </a:r>
            <a:endParaRPr sz="3600" u="sng"/>
          </a:p>
        </p:txBody>
      </p:sp>
      <p:sp>
        <p:nvSpPr>
          <p:cNvPr id="135" name="Google Shape;135;p1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We know that when we transform the mathematical space from 2 dimensions to higher dimension, the probability of linearly separating the data points increases. </a:t>
            </a:r>
            <a:endParaRPr sz="2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Now given that we have only 2 dimensions x1 and x2, how to create more dimensions out of it? We transform higher mathematical space into dimensions which are polynomials.</a:t>
            </a:r>
            <a:endParaRPr sz="2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x</a:t>
            </a:r>
            <a:r>
              <a:rPr lang="en-IN" sz="2000" baseline="-25000">
                <a:latin typeface="Times New Roman"/>
                <a:ea typeface="Times New Roman"/>
                <a:cs typeface="Times New Roman"/>
                <a:sym typeface="Times New Roman"/>
              </a:rPr>
              <a:t>1,</a:t>
            </a: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 x</a:t>
            </a:r>
            <a:r>
              <a:rPr lang="en-IN" sz="2000" baseline="-25000">
                <a:latin typeface="Times New Roman"/>
                <a:ea typeface="Times New Roman"/>
                <a:cs typeface="Times New Roman"/>
                <a:sym typeface="Times New Roman"/>
              </a:rPr>
              <a:t>2,</a:t>
            </a: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 x</a:t>
            </a:r>
            <a:r>
              <a:rPr lang="en-IN" sz="2000" baseline="-25000">
                <a:latin typeface="Times New Roman"/>
                <a:ea typeface="Times New Roman"/>
                <a:cs typeface="Times New Roman"/>
                <a:sym typeface="Times New Roman"/>
              </a:rPr>
              <a:t>1</a:t>
            </a:r>
            <a:r>
              <a:rPr lang="en-IN" sz="2000" baseline="30000">
                <a:latin typeface="Times New Roman"/>
                <a:ea typeface="Times New Roman"/>
                <a:cs typeface="Times New Roman"/>
                <a:sym typeface="Times New Roman"/>
              </a:rPr>
              <a:t>2</a:t>
            </a: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, x</a:t>
            </a:r>
            <a:r>
              <a:rPr lang="en-IN" sz="2000" baseline="-25000">
                <a:latin typeface="Times New Roman"/>
                <a:ea typeface="Times New Roman"/>
                <a:cs typeface="Times New Roman"/>
                <a:sym typeface="Times New Roman"/>
              </a:rPr>
              <a:t>2</a:t>
            </a:r>
            <a:r>
              <a:rPr lang="en-IN" sz="2000" baseline="30000">
                <a:latin typeface="Times New Roman"/>
                <a:ea typeface="Times New Roman"/>
                <a:cs typeface="Times New Roman"/>
                <a:sym typeface="Times New Roman"/>
              </a:rPr>
              <a:t>2</a:t>
            </a:r>
            <a:r>
              <a:rPr lang="en-IN" sz="2000">
                <a:latin typeface="Times New Roman"/>
                <a:ea typeface="Times New Roman"/>
                <a:cs typeface="Times New Roman"/>
                <a:sym typeface="Times New Roman"/>
              </a:rPr>
              <a:t>,…each one of them is 1 dimension in the mathematical space. Kernel SVM (KSVM) takes data point to higher mathematical space where they become linearly separable and then draw the plane through the data points. </a:t>
            </a:r>
            <a:endParaRPr sz="20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6</Words>
  <Application>Microsoft Office PowerPoint</Application>
  <PresentationFormat>Widescreen</PresentationFormat>
  <Paragraphs>116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Times New Roman</vt:lpstr>
      <vt:lpstr>Candara</vt:lpstr>
      <vt:lpstr>Corbel</vt:lpstr>
      <vt:lpstr>Calibri</vt:lpstr>
      <vt:lpstr>Arial</vt:lpstr>
      <vt:lpstr>Office Theme</vt:lpstr>
      <vt:lpstr>1_Office Theme</vt:lpstr>
      <vt:lpstr>5_Office Theme</vt:lpstr>
      <vt:lpstr>think-cell Slide</vt:lpstr>
      <vt:lpstr>Support Vector Machines (SVM)</vt:lpstr>
      <vt:lpstr>SVM -  Topics</vt:lpstr>
      <vt:lpstr>Support Vectors – What are they?</vt:lpstr>
      <vt:lpstr>Introduction to SVM</vt:lpstr>
      <vt:lpstr>Introduction to SVM</vt:lpstr>
      <vt:lpstr>Introduction to SVM Contd.</vt:lpstr>
      <vt:lpstr>How SVM looks in 2D space</vt:lpstr>
      <vt:lpstr>How SVM looks in 2D space</vt:lpstr>
      <vt:lpstr>Kernel SVM</vt:lpstr>
      <vt:lpstr>Some parameters of SVM</vt:lpstr>
      <vt:lpstr>Industry applications of SVM</vt:lpstr>
      <vt:lpstr>Case study</vt:lpstr>
      <vt:lpstr>Dataset</vt:lpstr>
      <vt:lpstr>Steps to follow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 Vector Machines (SVM)</dc:title>
  <cp:lastModifiedBy>Aniket Chhabra</cp:lastModifiedBy>
  <cp:revision>1</cp:revision>
  <dcterms:modified xsi:type="dcterms:W3CDTF">2021-09-04T12:34:12Z</dcterms:modified>
</cp:coreProperties>
</file>